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</p:sldIdLst>
  <p:sldSz cx="9144000" cy="6858000" type="screen4x3"/>
  <p:notesSz cx="6858000" cy="9144000"/>
  <p:defaultTextStyle>
    <a:defPPr>
      <a:defRPr lang="en-US"/>
    </a:defPPr>
    <a:lvl1pPr marL="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9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8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37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16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95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74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53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325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2082" y="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EC1D0E1-91FC-A417-1FFD-26F43E8506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2"/>
            <a:ext cx="9142875" cy="472666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12000" tIns="360000" rIns="576000" bIns="360000" anchor="ctr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pic>
        <p:nvPicPr>
          <p:cNvPr id="5" name="Picture 4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F48D1868-97A3-C742-EC94-AEE3634B3A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3" cy="17614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C192214-A577-F6FA-F8BE-05F65965446A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8BF912-8F07-382F-3BF0-FCBB3DF27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658" y="5266432"/>
            <a:ext cx="6290582" cy="642939"/>
          </a:xfrm>
        </p:spPr>
        <p:txBody>
          <a:bodyPr/>
          <a:lstStyle>
            <a:lvl1pPr>
              <a:defRPr sz="264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17618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0F300A-43D0-4F69-63AA-55F793742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C2D40904-648D-61EA-5880-D60A68FA6F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138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C13907-46BD-B9FF-E25B-A3D3BD2D05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FC37A336-01CC-ED33-BEAD-2B7A4C1A2F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5040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846E42-95E9-EF3C-E1F5-869A02E30D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3676F1DE-3AE7-36B5-AA86-731C44995C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443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2" y="-2"/>
            <a:ext cx="4571999" cy="6550619"/>
          </a:xfrm>
          <a:solidFill>
            <a:srgbClr val="E0DFDB"/>
          </a:solidFill>
        </p:spPr>
        <p:txBody>
          <a:bodyPr lIns="4212000" tIns="216000" rIns="720000" bIns="720000" anchor="b" anchorCtr="0"/>
          <a:lstStyle>
            <a:lvl1pPr algn="r">
              <a:defRPr sz="738">
                <a:solidFill>
                  <a:schemeClr val="tx1"/>
                </a:solidFill>
              </a:defRPr>
            </a:lvl1pPr>
          </a:lstStyle>
          <a:p>
            <a:r>
              <a:rPr lang="en-US"/>
              <a:t>To ad an image, select ‘Insert Picture’ </a:t>
            </a:r>
            <a:endParaRPr lang="en-AU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AF5FD4E7-9912-0C28-C57D-2FB38B662D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7957963" cy="6543848"/>
          </a:xfrm>
          <a:prstGeom prst="rect">
            <a:avLst/>
          </a:prstGeom>
          <a:gradFill>
            <a:gsLst>
              <a:gs pos="81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3pPr>
            <a:lvl4pPr marL="0" indent="0">
              <a:spcAft>
                <a:spcPts val="0"/>
              </a:spcAft>
              <a:buNone/>
              <a:defRPr sz="1400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D3EA190-56C2-3204-6D64-C6E674F3516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11143A-981F-84C9-1173-6D89B6622E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8100" y="0"/>
            <a:ext cx="275590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E0EA9CC2-00EF-D2FE-9DAC-08BD2C6DA7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3351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 descr="A person wearing a hard hat and yellow shirt&#10;&#10;Description automatically generated with medium confidence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296" y="6768"/>
            <a:ext cx="3346704" cy="65370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0551176-E5E8-588A-31FD-EE6643A1CA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780E8F-A634-BF23-D79A-8862269242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44C9F797-0363-17A2-A570-4D278DADE7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37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1" y="-269"/>
            <a:ext cx="3352038" cy="65441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5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D9EA583-CE5D-17BC-4E0D-83FF6D5CCE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F185DABB-E83B-A9A1-DF0E-7E1A383D52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843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85587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9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81C3693-CEE3-81A9-B8DE-EA2DBCA83D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9ADF42-4965-DE99-7C6C-A5BB8E9E2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3EACA691-B803-B7E2-0E75-9D9710BFCF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06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296" y="-6769"/>
            <a:ext cx="3346704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15B78025-90EA-1AC4-4190-EFF1E04BA98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4E4CBA-2E3B-9316-345D-70503EFA20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50EE79A-3E78-A5F1-2E62-B742D868E3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792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69"/>
            <a:ext cx="7725377" cy="6550617"/>
          </a:xfrm>
          <a:prstGeom prst="rect">
            <a:avLst/>
          </a:prstGeom>
          <a:gradFill>
            <a:gsLst>
              <a:gs pos="80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E0EF3E0-0503-90C3-EF01-1806334308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F9A5EE-A41E-1300-B17A-A85140B968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D8916EEA-6B93-86EB-6DBF-0E1D3B0E59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483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8"/>
            <a:ext cx="3352038" cy="6550616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4267C02-9C61-63C7-463C-34BE3D4D49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8700D3-867D-651E-EF52-9ED33B1231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EFB47D8-014C-B784-56DF-D99464427B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81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5123113-1C08-C01B-20DC-0E297EDD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8360A8A-359D-1B35-BB60-8E268AF607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64"/>
            <a:ext cx="9144000" cy="4724400"/>
          </a:xfrm>
          <a:prstGeom prst="rect">
            <a:avLst/>
          </a:prstGeom>
        </p:spPr>
      </p:pic>
      <p:pic>
        <p:nvPicPr>
          <p:cNvPr id="9" name="Picture 8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78160FB2-0E37-B0B2-BCAB-F8D0408092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4" cy="176147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5964714-F03C-ECE6-81E0-7D7B2B657FBE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5536246F-DB5E-F4CA-58F1-E8EB3DC41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1" y="2294194"/>
            <a:ext cx="7839499" cy="888444"/>
          </a:xfrm>
        </p:spPr>
        <p:txBody>
          <a:bodyPr anchor="b"/>
          <a:lstStyle>
            <a:lvl1pPr>
              <a:defRPr sz="4218"/>
            </a:lvl1pPr>
          </a:lstStyle>
          <a:p>
            <a:r>
              <a:rPr lang="en-US"/>
              <a:t>Click to edit  title</a:t>
            </a:r>
            <a:endParaRPr lang="en-AU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7297163-025A-8B63-7E40-4101DEC55B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5442" y="3174504"/>
            <a:ext cx="7839499" cy="1377512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add subtitle</a:t>
            </a:r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6CF81AF4-8602-4FA4-FD31-B0DE72BC57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2657" y="5514928"/>
            <a:ext cx="3037500" cy="316437"/>
          </a:xfrm>
        </p:spPr>
        <p:txBody>
          <a:bodyPr lIns="0" tIns="0" rIns="0" bIns="0"/>
          <a:lstStyle>
            <a:lvl1pPr algn="l">
              <a:defRPr sz="1793">
                <a:solidFill>
                  <a:schemeClr val="accent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9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203D937-484E-660D-17A5-FCCC3D066E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B07D11B-349F-E401-40E1-A74A950F540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harts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A89DDF1E-F978-19B4-EECF-A6D9B64A088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9061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12" name="Chart Placeholder 10">
            <a:extLst>
              <a:ext uri="{FF2B5EF4-FFF2-40B4-BE49-F238E27FC236}">
                <a16:creationId xmlns:a16="http://schemas.microsoft.com/office/drawing/2014/main" id="{17C2DE72-BBCB-DA99-753B-A3338848BA6C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70228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857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448B38-3FE4-83F4-B674-5A5AB831009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70B34-10DA-3329-AC07-3DF29564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6311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009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17DC3-6BF0-2EFA-2101-BDAC06EFE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2B4FCA-EECE-6665-4AB9-6D8701791B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7C7B54-EDD6-22B3-84D5-A61FCC185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60F4D-4C54-1317-DFBB-3269B2D20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AE3B6-C835-84C9-4FE9-F46EB4F74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142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-fixed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9944D0B-EF86-EB02-8C76-F7B9003B12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FAF738A-BBC1-0517-F019-70133E8180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585"/>
            <a:ext cx="9144000" cy="6519333"/>
          </a:xfrm>
          <a:prstGeom prst="rect">
            <a:avLst/>
          </a:prstGeom>
        </p:spPr>
      </p:pic>
      <p:sp>
        <p:nvSpPr>
          <p:cNvPr id="25" name="Title 5">
            <a:extLst>
              <a:ext uri="{FF2B5EF4-FFF2-40B4-BE49-F238E27FC236}">
                <a16:creationId xmlns:a16="http://schemas.microsoft.com/office/drawing/2014/main" id="{3073BAE5-93D5-42A3-0293-379BDC992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34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and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68E0F3B-ACD8-601A-75D9-FF5F973F6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286729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68E0F3B-ACD8-601A-75D9-FF5F973F6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48E0E54-1802-13E7-1939-1FAF2B17B390}"/>
              </a:ext>
            </a:extLst>
          </p:cNvPr>
          <p:cNvSpPr/>
          <p:nvPr/>
        </p:nvSpPr>
        <p:spPr>
          <a:xfrm>
            <a:off x="0" y="1"/>
            <a:ext cx="9144000" cy="6857732"/>
          </a:xfrm>
          <a:prstGeom prst="rect">
            <a:avLst/>
          </a:prstGeom>
          <a:solidFill>
            <a:srgbClr val="0088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3162849C-38F5-3F60-2E96-FBDE70FAF29F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126" y="-1"/>
            <a:ext cx="9142875" cy="6506655"/>
          </a:xfrm>
          <a:prstGeom prst="rect">
            <a:avLst/>
          </a:prstGeom>
          <a:noFill/>
        </p:spPr>
        <p:txBody>
          <a:bodyPr wrap="square" lIns="2880000" tIns="360000" rIns="8280000" bIns="360000" anchor="t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n image, select ‘Insert Picture’.</a:t>
            </a:r>
          </a:p>
        </p:txBody>
      </p:sp>
      <p:sp>
        <p:nvSpPr>
          <p:cNvPr id="3" name="Gradient overlay">
            <a:extLst>
              <a:ext uri="{FF2B5EF4-FFF2-40B4-BE49-F238E27FC236}">
                <a16:creationId xmlns:a16="http://schemas.microsoft.com/office/drawing/2014/main" id="{A56D1C3E-4DAE-F731-539A-9C3493C6318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-2"/>
            <a:ext cx="9144000" cy="6857731"/>
          </a:xfrm>
          <a:prstGeom prst="rect">
            <a:avLst/>
          </a:prstGeom>
          <a:gradFill>
            <a:gsLst>
              <a:gs pos="52000">
                <a:srgbClr val="008A44">
                  <a:alpha val="0"/>
                </a:srgbClr>
              </a:gs>
              <a:gs pos="18000">
                <a:srgbClr val="008A44">
                  <a:alpha val="45000"/>
                </a:srgbClr>
              </a:gs>
            </a:gsLst>
            <a:lin ang="540000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Pattern overlay">
            <a:extLst>
              <a:ext uri="{FF2B5EF4-FFF2-40B4-BE49-F238E27FC236}">
                <a16:creationId xmlns:a16="http://schemas.microsoft.com/office/drawing/2014/main" id="{5B9416B0-3BEC-1C4D-BC1A-5775257A636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2"/>
            <a:ext cx="9144000" cy="6857731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F0F4A8-CD5B-350C-03C4-04703B9DC7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34378"/>
            <a:ext cx="9144000" cy="323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vert="horz"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</a:t>
            </a:r>
            <a:br>
              <a:rPr lang="en-US"/>
            </a:br>
            <a:r>
              <a:rPr lang="en-US"/>
              <a:t>To add a background image, select: </a:t>
            </a:r>
            <a:br>
              <a:rPr lang="en-US"/>
            </a:br>
            <a:r>
              <a:rPr lang="en-US"/>
              <a:t>‘Insert &gt; Picture’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7929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E4F5FAF-260F-0F44-C5A6-B6D5B94D3E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8D5EDE2-FFF7-5592-0042-10E0CFDAC2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" b="2494"/>
          <a:stretch/>
        </p:blipFill>
        <p:spPr>
          <a:xfrm>
            <a:off x="-1" y="175246"/>
            <a:ext cx="7321515" cy="722188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1398136"/>
            <a:ext cx="7886700" cy="45534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 slid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F0CA83-2CF5-3929-58A3-96008F0F9533}"/>
              </a:ext>
            </a:extLst>
          </p:cNvPr>
          <p:cNvSpPr/>
          <p:nvPr/>
        </p:nvSpPr>
        <p:spPr>
          <a:xfrm>
            <a:off x="8742164" y="175246"/>
            <a:ext cx="401836" cy="722188"/>
          </a:xfrm>
          <a:prstGeom prst="rect">
            <a:avLst/>
          </a:prstGeom>
          <a:solidFill>
            <a:srgbClr val="008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</p:spTree>
    <p:extLst>
      <p:ext uri="{BB962C8B-B14F-4D97-AF65-F5344CB8AC3E}">
        <p14:creationId xmlns:p14="http://schemas.microsoft.com/office/powerpoint/2010/main" val="189785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6092" y="-2"/>
            <a:ext cx="2217909" cy="6550619"/>
          </a:xfrm>
          <a:solidFill>
            <a:schemeClr val="bg1">
              <a:lumMod val="75000"/>
            </a:schemeClr>
          </a:solidFill>
        </p:spPr>
        <p:txBody>
          <a:bodyPr lIns="216000" tIns="216000" rIns="216000" bIns="216000" anchor="ctr" anchorCtr="0"/>
          <a:lstStyle>
            <a:lvl1pPr>
              <a:defRPr sz="738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70DC20-2691-B494-709C-CCB9710EA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6090" y="0"/>
            <a:ext cx="221791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94F5D268-30AA-A345-99A7-23EE75A2FC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53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n orange shirt petting a dog&#10;&#10;Description automatically generated with medium confidence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54841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F772CF-A2D7-5B6B-9FBF-D08FF27F1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0"/>
            <a:ext cx="2222500" cy="3183467"/>
          </a:xfrm>
          <a:prstGeom prst="rect">
            <a:avLst/>
          </a:prstGeom>
        </p:spPr>
      </p:pic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12DD2899-92E5-603B-DD48-E070F34B5A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045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9EEFBE-91C6-6744-BB6F-62BCCE9FE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2343837F-8EC0-5CC0-6E61-DCDC2608C3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72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79855B-186B-410B-807E-7423C8B642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D749A6BB-7B2C-5049-3A68-EFE53747F2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13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58EF9E-F428-B98C-FE7D-E54C35A9D95B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32140356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458EF9E-F428-B98C-FE7D-E54C35A9D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9060" y="244928"/>
            <a:ext cx="6290582" cy="6429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9060" y="1398135"/>
            <a:ext cx="7759444" cy="4778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9643" y="6540500"/>
            <a:ext cx="1468862" cy="3164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1" y="6540501"/>
            <a:ext cx="4481428" cy="3175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38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5350" y="6543849"/>
            <a:ext cx="466962" cy="3138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575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xStyles>
    <p:titleStyle>
      <a:lvl1pPr algn="l" defTabSz="482163" rtl="0" eaLnBrk="1" latinLnBrk="0" hangingPunct="1">
        <a:lnSpc>
          <a:spcPct val="90000"/>
        </a:lnSpc>
        <a:spcBef>
          <a:spcPct val="0"/>
        </a:spcBef>
        <a:buNone/>
        <a:defRPr sz="2004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79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266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3pPr>
      <a:lvl4pPr marL="132880" indent="-13288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Arial" panose="020B0604020202020204" pitchFamily="34" charset="0"/>
        <a:buChar char="•"/>
        <a:defRPr sz="1055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265759" indent="-265759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+mj-lt"/>
        <a:buAutoNum type="arabicPeriod"/>
        <a:defRPr sz="1055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1pPr>
      <a:lvl2pPr marL="24108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2pPr>
      <a:lvl3pPr marL="482163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3pPr>
      <a:lvl4pPr marL="723245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4pPr>
      <a:lvl5pPr marL="964326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5pPr>
      <a:lvl6pPr marL="1205408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6pPr>
      <a:lvl7pPr marL="1446489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7pPr>
      <a:lvl8pPr marL="1687571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8pPr>
      <a:lvl9pPr marL="192865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aph of stock market&#10;&#10;AI-generated content may be incorrect.">
            <a:extLst>
              <a:ext uri="{FF2B5EF4-FFF2-40B4-BE49-F238E27FC236}">
                <a16:creationId xmlns:a16="http://schemas.microsoft.com/office/drawing/2014/main" id="{164572FB-CC54-53D2-4081-45F25678BE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4051" b="4051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21BB72C-37B2-AC40-FF65-03D11E06A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7764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us PowerPoint Theme">
  <a:themeElements>
    <a:clrScheme name="CBUS PPT">
      <a:dk1>
        <a:sysClr val="windowText" lastClr="000000"/>
      </a:dk1>
      <a:lt1>
        <a:sysClr val="window" lastClr="FFFFFF"/>
      </a:lt1>
      <a:dk2>
        <a:srgbClr val="5E5E5D"/>
      </a:dk2>
      <a:lt2>
        <a:srgbClr val="7EC4A2"/>
      </a:lt2>
      <a:accent1>
        <a:srgbClr val="005DAA"/>
      </a:accent1>
      <a:accent2>
        <a:srgbClr val="81BD41"/>
      </a:accent2>
      <a:accent3>
        <a:srgbClr val="33A038"/>
      </a:accent3>
      <a:accent4>
        <a:srgbClr val="D57920"/>
      </a:accent4>
      <a:accent5>
        <a:srgbClr val="EAB813"/>
      </a:accent5>
      <a:accent6>
        <a:srgbClr val="008A44"/>
      </a:accent6>
      <a:hlink>
        <a:srgbClr val="BBD9EA"/>
      </a:hlink>
      <a:folHlink>
        <a:srgbClr val="3C90D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bus PowerPoint Theme" id="{8A91E39A-4D15-4A8F-B1F2-ADDF6F0AA312}" vid="{26659C4F-CFCF-4DC4-B43F-649DA43B19A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heme</Template>
  <TotalTime>6</TotalTime>
  <Words>0</Words>
  <Application>Microsoft Office PowerPoint</Application>
  <PresentationFormat>On-screen Show (4:3)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Roboto</vt:lpstr>
      <vt:lpstr>Cbus PowerPoint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ONN WYATT GUINA</dc:creator>
  <cp:lastModifiedBy>FIONN WYATT GUINA</cp:lastModifiedBy>
  <cp:revision>3</cp:revision>
  <dcterms:created xsi:type="dcterms:W3CDTF">2025-11-08T04:21:46Z</dcterms:created>
  <dcterms:modified xsi:type="dcterms:W3CDTF">2025-11-09T06:16:08Z</dcterms:modified>
</cp:coreProperties>
</file>